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AB040-FF2F-0B6A-6600-FF9E11DD6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AF0768-1F33-CA86-3F91-37EAA6F7B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AF0768-1F33-CA86-3F91-37EAA6F7B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A24931-DFF1-BE7E-1D56-707883490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2EA73-3CD3-A47E-0E9B-B61309F9E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AD6AC76-0F4B-08D5-2251-354F31A32778}"/>
              </a:ext>
            </a:extLst>
          </p:cNvPr>
          <p:cNvGrpSpPr/>
          <p:nvPr/>
        </p:nvGrpSpPr>
        <p:grpSpPr>
          <a:xfrm>
            <a:off x="876630" y="1541715"/>
            <a:ext cx="3810231" cy="4089530"/>
            <a:chOff x="876630" y="1541715"/>
            <a:chExt cx="3810231" cy="40895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8ADB893-0B6A-384B-4F12-F43C5E5B2B76}"/>
                </a:ext>
              </a:extLst>
            </p:cNvPr>
            <p:cNvGrpSpPr/>
            <p:nvPr/>
          </p:nvGrpSpPr>
          <p:grpSpPr>
            <a:xfrm>
              <a:off x="1398006" y="1976010"/>
              <a:ext cx="2754783" cy="3195551"/>
              <a:chOff x="3505200" y="1562862"/>
              <a:chExt cx="2133600" cy="2474976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09D9C21E-B4C8-D343-8661-AC95588E363D}"/>
                  </a:ext>
                </a:extLst>
              </p:cNvPr>
              <p:cNvSpPr/>
              <p:nvPr/>
            </p:nvSpPr>
            <p:spPr>
              <a:xfrm rot="5400000">
                <a:off x="3334512" y="1733550"/>
                <a:ext cx="2474976" cy="2133600"/>
              </a:xfrm>
              <a:prstGeom prst="hexagon">
                <a:avLst/>
              </a:prstGeom>
              <a:noFill/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764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C04F9D9-5BA8-5218-035F-4447DEBA4BB3}"/>
                  </a:ext>
                </a:extLst>
              </p:cNvPr>
              <p:cNvCxnSpPr>
                <a:stCxn id="7" idx="0"/>
                <a:endCxn id="9" idx="4"/>
              </p:cNvCxnSpPr>
              <p:nvPr/>
            </p:nvCxnSpPr>
            <p:spPr>
              <a:xfrm flipV="1">
                <a:off x="3928569" y="2152650"/>
                <a:ext cx="1296697" cy="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1647C76-6C04-D95B-EF9E-6CBBC9DA4F5E}"/>
                  </a:ext>
                </a:extLst>
              </p:cNvPr>
              <p:cNvCxnSpPr>
                <a:stCxn id="12" idx="0"/>
                <a:endCxn id="10" idx="4"/>
              </p:cNvCxnSpPr>
              <p:nvPr/>
            </p:nvCxnSpPr>
            <p:spPr>
              <a:xfrm>
                <a:off x="3928569" y="3401345"/>
                <a:ext cx="1296697" cy="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48C4099-8EDA-2E7E-5C53-C3D13E2E1CB1}"/>
                  </a:ext>
                </a:extLst>
              </p:cNvPr>
              <p:cNvCxnSpPr>
                <a:stCxn id="8" idx="6"/>
                <a:endCxn id="11" idx="2"/>
              </p:cNvCxnSpPr>
              <p:nvPr/>
            </p:nvCxnSpPr>
            <p:spPr>
              <a:xfrm flipH="1">
                <a:off x="4572000" y="2053637"/>
                <a:ext cx="9779" cy="1513095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185BB6D-C823-7F93-69D3-6F2BC6B5E4CF}"/>
                  </a:ext>
                </a:extLst>
              </p:cNvPr>
              <p:cNvCxnSpPr>
                <a:stCxn id="8" idx="6"/>
                <a:endCxn id="12" idx="1"/>
              </p:cNvCxnSpPr>
              <p:nvPr/>
            </p:nvCxnSpPr>
            <p:spPr>
              <a:xfrm flipH="1">
                <a:off x="3807431" y="2053637"/>
                <a:ext cx="774348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5548590-344C-F57A-AEEC-A313BD9CACF4}"/>
                  </a:ext>
                </a:extLst>
              </p:cNvPr>
              <p:cNvCxnSpPr>
                <a:stCxn id="8" idx="6"/>
                <a:endCxn id="10" idx="3"/>
              </p:cNvCxnSpPr>
              <p:nvPr/>
            </p:nvCxnSpPr>
            <p:spPr>
              <a:xfrm>
                <a:off x="4581779" y="2053637"/>
                <a:ext cx="764624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846E119-0F49-4C79-EE7C-021CCBC20316}"/>
                  </a:ext>
                </a:extLst>
              </p:cNvPr>
              <p:cNvCxnSpPr>
                <a:stCxn id="11" idx="2"/>
                <a:endCxn id="7" idx="7"/>
              </p:cNvCxnSpPr>
              <p:nvPr/>
            </p:nvCxnSpPr>
            <p:spPr>
              <a:xfrm flipH="1" flipV="1">
                <a:off x="3807431" y="2445089"/>
                <a:ext cx="764569" cy="1121643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3E63F4F-C5EF-FE89-F6F3-F4C06A104198}"/>
                  </a:ext>
                </a:extLst>
              </p:cNvPr>
              <p:cNvCxnSpPr>
                <a:stCxn id="11" idx="2"/>
                <a:endCxn id="9" idx="5"/>
              </p:cNvCxnSpPr>
              <p:nvPr/>
            </p:nvCxnSpPr>
            <p:spPr>
              <a:xfrm flipV="1">
                <a:off x="4572000" y="2445088"/>
                <a:ext cx="774403" cy="1121644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9351B1-8C75-1D56-7A86-25FFAB88C2F8}"/>
                  </a:ext>
                </a:extLst>
              </p:cNvPr>
              <p:cNvCxnSpPr>
                <a:stCxn id="7" idx="7"/>
                <a:endCxn id="10" idx="3"/>
              </p:cNvCxnSpPr>
              <p:nvPr/>
            </p:nvCxnSpPr>
            <p:spPr>
              <a:xfrm>
                <a:off x="3807431" y="2445089"/>
                <a:ext cx="1538972" cy="663819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F86F6E6-F127-9BF6-C919-B809F962E1A8}"/>
                  </a:ext>
                </a:extLst>
              </p:cNvPr>
              <p:cNvCxnSpPr>
                <a:stCxn id="9" idx="5"/>
                <a:endCxn id="12" idx="1"/>
              </p:cNvCxnSpPr>
              <p:nvPr/>
            </p:nvCxnSpPr>
            <p:spPr>
              <a:xfrm flipH="1">
                <a:off x="3807431" y="2445088"/>
                <a:ext cx="1538972" cy="66382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D7A0EC3-6062-916B-FE0E-F56199957E87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EECB4BB-EE3A-DE00-EAFF-E90B92164F3F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5E2C816-2FF3-33AE-7AC2-E9A28188A901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FC203CF-F143-B68B-E007-DF3A462B7E3E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2514F15-E565-AB22-F846-A28C6F6C748F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EA7461B-A278-30E5-E936-B8FEE823F1D3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17F24A3-1DE9-BE39-C2C9-5F03FF339FC5}"/>
                </a:ext>
              </a:extLst>
            </p:cNvPr>
            <p:cNvSpPr/>
            <p:nvPr/>
          </p:nvSpPr>
          <p:spPr>
            <a:xfrm rot="5400000">
              <a:off x="2242119" y="3040508"/>
              <a:ext cx="1066555" cy="10665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D31F1B2-B839-63E1-B1E3-E1FEFC1CABFD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5C13042D-F72F-6A91-298A-4392F02890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18">
                <a:extLst>
                  <a:ext uri="{FF2B5EF4-FFF2-40B4-BE49-F238E27FC236}">
                    <a16:creationId xmlns:a16="http://schemas.microsoft.com/office/drawing/2014/main" id="{4DB4CFAD-D829-2261-7421-AB0D7ADFC5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6551E12A-D13F-6F8B-3397-43067B2DB7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EE87356-2135-10DB-D084-D2580E387B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A14EB98C-F123-BB70-3195-63907EC64E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37" name="Freeform 22">
                <a:extLst>
                  <a:ext uri="{FF2B5EF4-FFF2-40B4-BE49-F238E27FC236}">
                    <a16:creationId xmlns:a16="http://schemas.microsoft.com/office/drawing/2014/main" id="{EA2D8DBE-E5CE-0D08-DB22-1D4E89BC6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6B6620C9-AB8F-2C49-E850-5820400571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847AAB-ECF0-98D0-DB2B-16CCCC8D7E4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A3BC55EB-E37F-82C5-E9DF-B24FABDFA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1" name="Freeform 27">
                <a:extLst>
                  <a:ext uri="{FF2B5EF4-FFF2-40B4-BE49-F238E27FC236}">
                    <a16:creationId xmlns:a16="http://schemas.microsoft.com/office/drawing/2014/main" id="{7953D46E-3FBB-95FF-FC5A-67E37D4272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2" name="Freeform 28">
                <a:extLst>
                  <a:ext uri="{FF2B5EF4-FFF2-40B4-BE49-F238E27FC236}">
                    <a16:creationId xmlns:a16="http://schemas.microsoft.com/office/drawing/2014/main" id="{1C472C1B-D672-B6D0-2F29-3F9B3A8AE5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D2BA2AC6-6DB6-9D28-C58B-70E4A9714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4DC075DA-61B5-5284-17FA-B4793FB8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31">
                <a:extLst>
                  <a:ext uri="{FF2B5EF4-FFF2-40B4-BE49-F238E27FC236}">
                    <a16:creationId xmlns:a16="http://schemas.microsoft.com/office/drawing/2014/main" id="{45492884-A0A9-1F36-E105-2A6536BCF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5336E-F172-F669-7591-AA68DD0CFE70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F9B856E7-B95D-C00B-51AF-DA65BA75C8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B4789F75-6F20-3590-EC38-7ECFAFE0C1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862EA9E2-C86E-9E47-96C8-D52135116E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B5BA0C8F-39A8-B81B-ABFA-2049252E2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5653CEA-6411-8F7B-4F01-266AEB3F544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55167" y="3381079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382A190A-B436-E915-EC89-02BBC0DA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CFFB56DF-CCB3-047C-DB6B-847D92A504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CCFE6014-6185-09CF-0BD9-886C26348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886C1899-863A-84FF-37E1-52F0F0CE1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CD834244-81E2-FF5E-A4B8-48BAE4C4A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31">
                <a:extLst>
                  <a:ext uri="{FF2B5EF4-FFF2-40B4-BE49-F238E27FC236}">
                    <a16:creationId xmlns:a16="http://schemas.microsoft.com/office/drawing/2014/main" id="{4641E0B8-74B1-BCE4-C4AB-C398E2DB9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51" name="Folded Corner 67">
            <a:extLst>
              <a:ext uri="{FF2B5EF4-FFF2-40B4-BE49-F238E27FC236}">
                <a16:creationId xmlns:a16="http://schemas.microsoft.com/office/drawing/2014/main" id="{33F5ABBD-57D2-B96A-00DD-AF04D424D16C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52" name="Round Same Side Corner Rectangle 69">
            <a:extLst>
              <a:ext uri="{FF2B5EF4-FFF2-40B4-BE49-F238E27FC236}">
                <a16:creationId xmlns:a16="http://schemas.microsoft.com/office/drawing/2014/main" id="{0567545B-CB71-15C1-CC10-4AA6559FB36E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53" name="Inhaltsplatzhalter 4">
            <a:extLst>
              <a:ext uri="{FF2B5EF4-FFF2-40B4-BE49-F238E27FC236}">
                <a16:creationId xmlns:a16="http://schemas.microsoft.com/office/drawing/2014/main" id="{A1AF7D62-27C6-B9B2-FA20-641A91E1C14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1379455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6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2</cp:revision>
  <dcterms:created xsi:type="dcterms:W3CDTF">2021-03-31T02:49:57Z</dcterms:created>
  <dcterms:modified xsi:type="dcterms:W3CDTF">2025-10-16T11:00:26Z</dcterms:modified>
  <cp:category/>
</cp:coreProperties>
</file>